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26" r:id="rId17"/>
    <p:sldId id="327" r:id="rId18"/>
    <p:sldId id="329" r:id="rId19"/>
    <p:sldId id="325" r:id="rId20"/>
    <p:sldId id="328" r:id="rId21"/>
    <p:sldId id="315" r:id="rId22"/>
    <p:sldId id="316" r:id="rId23"/>
    <p:sldId id="319" r:id="rId24"/>
    <p:sldId id="264" r:id="rId25"/>
    <p:sldId id="265" r:id="rId26"/>
    <p:sldId id="266" r:id="rId27"/>
    <p:sldId id="267" r:id="rId28"/>
    <p:sldId id="268" r:id="rId29"/>
    <p:sldId id="269" r:id="rId30"/>
    <p:sldId id="320" r:id="rId31"/>
    <p:sldId id="270" r:id="rId32"/>
    <p:sldId id="271" r:id="rId33"/>
    <p:sldId id="272" r:id="rId34"/>
    <p:sldId id="273" r:id="rId35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5" d="100"/>
          <a:sy n="85" d="100"/>
        </p:scale>
        <p:origin x="213" y="3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4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内存管理单元（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）的实现，用于内存保护和虚拟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些封装函数，用于简化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调用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0" y="1801505"/>
            <a:ext cx="10604311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方案一：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方案二：手动将所有具有函数功能的宏修改为具有相同名称和功能的函数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35758" y="3776752"/>
            <a:ext cx="8864221" cy="2523434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F36BF599-AD16-687C-024A-D4CBE0495C94}"/>
              </a:ext>
            </a:extLst>
          </p:cNvPr>
          <p:cNvSpPr txBox="1"/>
          <p:nvPr/>
        </p:nvSpPr>
        <p:spPr bwMode="auto">
          <a:xfrm>
            <a:off x="533400" y="3126654"/>
            <a:ext cx="7663218" cy="454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由于这样的宏并不是很多，所以我们选择了方案二，下面是一个例子：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no_std_asyn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F1F761E-174F-F2CA-C6D2-45E681BDE00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162563A1-4070-CEBA-D599-D4E2D40374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dirty="0"/>
              <a:t>王劲博：组员，参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</TotalTime>
  <Words>1961</Words>
  <Application>Microsoft Office PowerPoint</Application>
  <DocSecurity>0</DocSecurity>
  <PresentationFormat>宽屏</PresentationFormat>
  <Paragraphs>235</Paragraphs>
  <Slides>34</Slides>
  <Notes>3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4</vt:i4>
      </vt:variant>
    </vt:vector>
  </HeadingPairs>
  <TitlesOfParts>
    <vt:vector size="45" baseType="lpstr"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task模块</vt:lpstr>
      <vt:lpstr>Rust改写——关键模块 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55</cp:revision>
  <dcterms:created xsi:type="dcterms:W3CDTF">2019-08-16T12:08:31Z</dcterms:created>
  <dcterms:modified xsi:type="dcterms:W3CDTF">2024-07-05T13:29:43Z</dcterms:modified>
  <cp:category/>
  <dc:identifier/>
  <cp:contentStatus/>
  <dc:language/>
  <cp:version/>
</cp:coreProperties>
</file>